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1"/>
    <p:sldMasterId id="2147483745" r:id="rId2"/>
    <p:sldMasterId id="2147483764" r:id="rId3"/>
    <p:sldMasterId id="2147483780" r:id="rId4"/>
  </p:sldMasterIdLst>
  <p:notesMasterIdLst>
    <p:notesMasterId r:id="rId10"/>
  </p:notesMasterIdLst>
  <p:handoutMasterIdLst>
    <p:handoutMasterId r:id="rId11"/>
  </p:handoutMasterIdLst>
  <p:sldIdLst>
    <p:sldId id="488" r:id="rId5"/>
    <p:sldId id="491" r:id="rId6"/>
    <p:sldId id="520" r:id="rId7"/>
    <p:sldId id="521" r:id="rId8"/>
    <p:sldId id="519" r:id="rId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615" autoAdjust="0"/>
    <p:restoredTop sz="99467" autoAdjust="0"/>
  </p:normalViewPr>
  <p:slideViewPr>
    <p:cSldViewPr>
      <p:cViewPr varScale="1">
        <p:scale>
          <a:sx n="73" d="100"/>
          <a:sy n="73" d="100"/>
        </p:scale>
        <p:origin x="-1062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67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1D96D-FC27-4F6D-8283-212B6D9D2588}" type="datetimeFigureOut">
              <a:rPr lang="en-US" smtClean="0"/>
              <a:t>9/4/2013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6721F-3142-4430-8D90-F65A8722CF3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6280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11FD3E-2E3D-48B0-9773-47D6C4212C5A}" type="datetimeFigureOut">
              <a:rPr lang="fr-FR" smtClean="0"/>
              <a:pPr/>
              <a:t>04/09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74920-7E26-45EE-AE79-5E99C471C44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66854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  <p:sp>
          <p:nvSpPr>
            <p:cNvPr id="19" name="Titre 5"/>
            <p:cNvSpPr txBox="1">
              <a:spLocks/>
            </p:cNvSpPr>
            <p:nvPr userDrawn="1"/>
          </p:nvSpPr>
          <p:spPr>
            <a:xfrm>
              <a:off x="2742304" y="6613200"/>
              <a:ext cx="2045720" cy="1502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1000"/>
                </a:lnSpc>
              </a:pPr>
              <a:r>
                <a:rPr lang="fr-FR" sz="1600" b="1" spc="10" baseline="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baseline="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5" name="Espace réservé de la date 3"/>
          <p:cNvSpPr txBox="1">
            <a:spLocks/>
          </p:cNvSpPr>
          <p:nvPr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pic>
        <p:nvPicPr>
          <p:cNvPr id="20" name="Picture 6" descr="C:\Users\dhiridjee\Documents\02_iPMP\02_SVN\branches\V1.6.1\view\img\logo.pn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3" t="-2032" r="-4534" b="1876"/>
          <a:stretch/>
        </p:blipFill>
        <p:spPr bwMode="auto">
          <a:xfrm>
            <a:off x="-7620" y="335934"/>
            <a:ext cx="2863850" cy="73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733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744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2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07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9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27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680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325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89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37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5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48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7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21" name="Connecteur droit 20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5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612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497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15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980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:\Users\dhiridjee\Documents\02_iPMP\02_SVN\branches\V1.6.1\view\img\logo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3" t="-2032" r="-4534" b="1876"/>
          <a:stretch/>
        </p:blipFill>
        <p:spPr bwMode="auto">
          <a:xfrm>
            <a:off x="-7620" y="335934"/>
            <a:ext cx="2863850" cy="73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38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0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27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20" name="Connecteur droit 19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à coins arrondis 20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Rectangle à coins arrondis 22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6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63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322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167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6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51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329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3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499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36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8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3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59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78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44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02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52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03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21" name="Connecteur droit 20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53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567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6" name="ZoneTexte 15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3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7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914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001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04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868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736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604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690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220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600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400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78099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7410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200" y="310534"/>
              <a:ext cx="3047224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776" y="310534"/>
              <a:ext cx="3047224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7224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20290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677108"/>
          </a:xfrm>
        </p:spPr>
        <p:txBody>
          <a:bodyPr/>
          <a:lstStyle/>
          <a:p>
            <a:r>
              <a:rPr lang="fr-FR" dirty="0" smtClean="0"/>
              <a:t>Guide utilisateur </a:t>
            </a:r>
            <a:r>
              <a:rPr lang="fr-FR" dirty="0" err="1" smtClean="0"/>
              <a:t>iPMP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627784" y="3429000"/>
            <a:ext cx="6273329" cy="369332"/>
          </a:xfrm>
        </p:spPr>
        <p:txBody>
          <a:bodyPr/>
          <a:lstStyle/>
          <a:p>
            <a:r>
              <a:rPr lang="fr-FR" dirty="0" smtClean="0"/>
              <a:t>Chef de Projet</a:t>
            </a:r>
            <a:endParaRPr lang="en-US" dirty="0"/>
          </a:p>
        </p:txBody>
      </p:sp>
      <p:sp>
        <p:nvSpPr>
          <p:cNvPr id="4" name="Sous-titre 2"/>
          <p:cNvSpPr txBox="1">
            <a:spLocks/>
          </p:cNvSpPr>
          <p:nvPr/>
        </p:nvSpPr>
        <p:spPr>
          <a:xfrm>
            <a:off x="179511" y="5569495"/>
            <a:ext cx="627332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 smtClean="0"/>
              <a:t>Référence : XXXX</a:t>
            </a:r>
            <a:endParaRPr lang="en-US" sz="2000" dirty="0"/>
          </a:p>
        </p:txBody>
      </p:sp>
      <p:sp>
        <p:nvSpPr>
          <p:cNvPr id="5" name="Sous-titre 2"/>
          <p:cNvSpPr txBox="1">
            <a:spLocks/>
          </p:cNvSpPr>
          <p:nvPr/>
        </p:nvSpPr>
        <p:spPr>
          <a:xfrm>
            <a:off x="2627784" y="3995772"/>
            <a:ext cx="627332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 b="1" dirty="0" smtClean="0"/>
              <a:t>Fonction Multiple Updat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715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Depuis la V1.6.0 il est possible de sélectionner et modifier plusieurs éléments en une seule opération:</a:t>
            </a:r>
          </a:p>
          <a:p>
            <a:pPr lvl="1"/>
            <a:r>
              <a:rPr lang="fr-FR" dirty="0" smtClean="0"/>
              <a:t>Tickets</a:t>
            </a:r>
          </a:p>
          <a:p>
            <a:pPr lvl="1"/>
            <a:r>
              <a:rPr lang="fr-FR" dirty="0" smtClean="0"/>
              <a:t>Activités</a:t>
            </a:r>
          </a:p>
          <a:p>
            <a:pPr lvl="1"/>
            <a:r>
              <a:rPr lang="fr-FR" dirty="0" smtClean="0"/>
              <a:t>Jalons</a:t>
            </a:r>
          </a:p>
          <a:p>
            <a:pPr lvl="1"/>
            <a:r>
              <a:rPr lang="fr-FR" dirty="0" smtClean="0"/>
              <a:t>Actions</a:t>
            </a:r>
          </a:p>
          <a:p>
            <a:pPr lvl="1"/>
            <a:r>
              <a:rPr lang="fr-FR" dirty="0" smtClean="0"/>
              <a:t>Risques</a:t>
            </a:r>
          </a:p>
          <a:p>
            <a:pPr lvl="1"/>
            <a:r>
              <a:rPr lang="fr-FR" dirty="0" smtClean="0"/>
              <a:t>etc.</a:t>
            </a:r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Descripti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3140968"/>
            <a:ext cx="4972050" cy="1000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à coins arrondis 3"/>
          <p:cNvSpPr/>
          <p:nvPr/>
        </p:nvSpPr>
        <p:spPr>
          <a:xfrm>
            <a:off x="6660232" y="3140968"/>
            <a:ext cx="1299642" cy="79208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8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319881" y="1124744"/>
            <a:ext cx="8502650" cy="2088232"/>
          </a:xfrm>
        </p:spPr>
        <p:txBody>
          <a:bodyPr/>
          <a:lstStyle/>
          <a:p>
            <a:r>
              <a:rPr lang="fr-FR" sz="1800" dirty="0" smtClean="0"/>
              <a:t>Cliquer sur le bouton « Multiple Update »</a:t>
            </a:r>
          </a:p>
          <a:p>
            <a:r>
              <a:rPr lang="fr-FR" sz="1800" dirty="0" smtClean="0"/>
              <a:t>Sélectionner plusieurs éléments dans la liste</a:t>
            </a:r>
          </a:p>
          <a:p>
            <a:pPr lvl="1"/>
            <a:r>
              <a:rPr lang="fr-FR" sz="1800" dirty="0" smtClean="0"/>
              <a:t>Sélection par click simple (pas de shift-click)</a:t>
            </a:r>
          </a:p>
          <a:p>
            <a:pPr lvl="1"/>
            <a:r>
              <a:rPr lang="fr-FR" sz="1800" dirty="0" smtClean="0"/>
              <a:t>Cliquer une deuxième fois pour </a:t>
            </a:r>
            <a:r>
              <a:rPr lang="fr-FR" sz="1800" dirty="0" err="1" smtClean="0"/>
              <a:t>déselectionner</a:t>
            </a:r>
            <a:endParaRPr lang="fr-FR" sz="1800" dirty="0" smtClean="0"/>
          </a:p>
          <a:p>
            <a:r>
              <a:rPr lang="fr-FR" sz="1800" dirty="0" smtClean="0"/>
              <a:t>On peut modifier le statut, responsable ou résultat des éléments sélectionnés</a:t>
            </a:r>
          </a:p>
          <a:p>
            <a:pPr marL="457200" lvl="1" indent="0">
              <a:buNone/>
            </a:pPr>
            <a:endParaRPr lang="en-US" sz="1800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Utilisation (1/2)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78" y="3068960"/>
            <a:ext cx="7499414" cy="3326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1142746"/>
            <a:ext cx="504056" cy="414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805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251520" y="1412776"/>
            <a:ext cx="8502650" cy="2088232"/>
          </a:xfrm>
        </p:spPr>
        <p:txBody>
          <a:bodyPr/>
          <a:lstStyle/>
          <a:p>
            <a:r>
              <a:rPr lang="fr-FR" sz="1800" dirty="0" smtClean="0"/>
              <a:t>A la sauvegarde, vérifier le résultat de l’opération</a:t>
            </a:r>
          </a:p>
          <a:p>
            <a:pPr lvl="1"/>
            <a:r>
              <a:rPr lang="fr-FR" sz="1600" dirty="0" smtClean="0"/>
              <a:t>En cas d’erreur, un message est affiché</a:t>
            </a:r>
          </a:p>
          <a:p>
            <a:pPr lvl="1"/>
            <a:endParaRPr lang="en-US" sz="1800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Utilisation (2/2)</a:t>
            </a:r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83" y="2348880"/>
            <a:ext cx="7640428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6709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816" y="2348880"/>
            <a:ext cx="3168352" cy="205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94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S4_0396_FR_Modele_PPT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I</Template>
  <TotalTime>20897</TotalTime>
  <Words>67</Words>
  <Application>Microsoft Office PowerPoint</Application>
  <PresentationFormat>Affichage à l'écran (4:3)</PresentationFormat>
  <Paragraphs>21</Paragraphs>
  <Slides>5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5</vt:i4>
      </vt:variant>
    </vt:vector>
  </HeadingPairs>
  <TitlesOfParts>
    <vt:vector size="9" baseType="lpstr">
      <vt:lpstr>S4_0396_FR_Modele_PPT</vt:lpstr>
      <vt:lpstr>5 Parties</vt:lpstr>
      <vt:lpstr>4 Parties</vt:lpstr>
      <vt:lpstr>3 Parties</vt:lpstr>
      <vt:lpstr>Guide utilisateur iPMP</vt:lpstr>
      <vt:lpstr>Description</vt:lpstr>
      <vt:lpstr>Utilisation (1/2)</vt:lpstr>
      <vt:lpstr>Utilisation (2/2)</vt:lpstr>
      <vt:lpstr>Présentation PowerPoint</vt:lpstr>
    </vt:vector>
  </TitlesOfParts>
  <Company>SI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olopez</dc:creator>
  <cp:lastModifiedBy>DHI</cp:lastModifiedBy>
  <cp:revision>5620</cp:revision>
  <dcterms:created xsi:type="dcterms:W3CDTF">2011-03-15T22:20:48Z</dcterms:created>
  <dcterms:modified xsi:type="dcterms:W3CDTF">2013-09-04T15:47:26Z</dcterms:modified>
</cp:coreProperties>
</file>